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133.xml" ContentType="application/vnd.openxmlformats-officedocument.presentationml.slide+xml"/>
  <Override PartName="/ppt/tags/tag444.xml" ContentType="application/vnd.openxmlformats-officedocument.presentationml.tags+xml"/>
  <Override PartName="/ppt/tags/tag443.xml" ContentType="application/vnd.openxmlformats-officedocument.presentationml.tags+xml"/>
  <Override PartName="/ppt/notesSlides/notesSlide133.xml" ContentType="application/vnd.openxmlformats-officedocument.presentationml.notes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03" r:id="rId13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133.xml" Id="rId136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3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33.xml.rels>&#65279;<?xml version="1.0" encoding="utf-8"?><Relationships xmlns="http://schemas.openxmlformats.org/package/2006/relationships"><Relationship Type="http://schemas.openxmlformats.org/officeDocument/2006/relationships/slide" Target="/ppt/slides/slide133.xml" Id="rId2" /><Relationship Type="http://schemas.openxmlformats.org/officeDocument/2006/relationships/notesMaster" Target="/ppt/notesMasters/notesMaster1.xml" Id="rId1" /></Relationships>
</file>

<file path=ppt/notesSlides/notesSlide1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38321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33.xml.rels>&#65279;<?xml version="1.0" encoding="utf-8"?><Relationships xmlns="http://schemas.openxmlformats.org/package/2006/relationships"><Relationship Type="http://schemas.openxmlformats.org/officeDocument/2006/relationships/tags" Target="/ppt/tags/tag444.xml" Id="rId3" /><Relationship Type="http://schemas.openxmlformats.org/officeDocument/2006/relationships/image" Target="/ppt/media/image4.emf" Id="rId7" /><Relationship Type="http://schemas.openxmlformats.org/officeDocument/2006/relationships/tags" Target="/ppt/tags/tag443.xml" Id="rId2" /><Relationship Type="http://schemas.openxmlformats.org/officeDocument/2006/relationships/vmlDrawing" Target="/ppt/drawings/vmlDrawing137.vml" Id="rId1" /><Relationship Type="http://schemas.openxmlformats.org/officeDocument/2006/relationships/oleObject" Target="/ppt/embeddings/oleObject137.bin" Id="rId6" /><Relationship Type="http://schemas.openxmlformats.org/officeDocument/2006/relationships/notesSlide" Target="/ppt/notesSlides/notesSlide133.xml" Id="rId5" /><Relationship Type="http://schemas.openxmlformats.org/officeDocument/2006/relationships/slideLayout" Target="/ppt/slideLayouts/slideLayout5.xml" Id="rId4" /></Relationships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1389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7" name="think-cell 幻灯片" r:id="rId6" imgW="349" imgH="350" progId="TCLayout.ActiveDocument.1">
                  <p:embed/>
                </p:oleObj>
              </mc:Choice>
              <mc:Fallback>
                <p:oleObj name="think-cell 幻灯片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Circular sprint</a:t>
            </a:r>
          </a:p>
        </p:txBody>
      </p:sp>
      <p:sp>
        <p:nvSpPr>
          <p:cNvPr id="2" name="Freihandform: Form 42">
            <a:extLst>
              <a:ext uri="{FF2B5EF4-FFF2-40B4-BE49-F238E27FC236}">
                <a16:creationId xmlns:a16="http://schemas.microsoft.com/office/drawing/2014/main" id="{5C3D2B94-E30C-5E44-D677-A4218F61A66B}"/>
              </a:ext>
            </a:extLst>
          </p:cNvPr>
          <p:cNvSpPr>
            <a:spLocks/>
          </p:cNvSpPr>
          <p:nvPr/>
        </p:nvSpPr>
        <p:spPr>
          <a:xfrm>
            <a:off x="4525262" y="4046848"/>
            <a:ext cx="1571170" cy="1319580"/>
          </a:xfrm>
          <a:custGeom>
            <a:avLst/>
            <a:gdLst>
              <a:gd name="connsiteX0" fmla="*/ 1731264 w 1767840"/>
              <a:gd name="connsiteY0" fmla="*/ 580644 h 1484757"/>
              <a:gd name="connsiteX1" fmla="*/ 770191 w 1767840"/>
              <a:gd name="connsiteY1" fmla="*/ 70009 h 1484757"/>
              <a:gd name="connsiteX2" fmla="*/ 227362 w 1767840"/>
              <a:gd name="connsiteY2" fmla="*/ 0 h 1484757"/>
              <a:gd name="connsiteX3" fmla="*/ 0 w 1767840"/>
              <a:gd name="connsiteY3" fmla="*/ 544830 h 1484757"/>
              <a:gd name="connsiteX4" fmla="*/ 1767840 w 1767840"/>
              <a:gd name="connsiteY4" fmla="*/ 1484757 h 1484757"/>
              <a:gd name="connsiteX5" fmla="*/ 1404461 w 1767840"/>
              <a:gd name="connsiteY5" fmla="*/ 1008793 h 1484757"/>
              <a:gd name="connsiteX6" fmla="*/ 1731264 w 1767840"/>
              <a:gd name="connsiteY6" fmla="*/ 580644 h 1484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67840" h="1484757">
                <a:moveTo>
                  <a:pt x="1731264" y="580644"/>
                </a:moveTo>
                <a:cubicBezTo>
                  <a:pt x="1351312" y="567309"/>
                  <a:pt x="995648" y="378905"/>
                  <a:pt x="770191" y="70009"/>
                </a:cubicBezTo>
                <a:lnTo>
                  <a:pt x="227362" y="0"/>
                </a:lnTo>
                <a:lnTo>
                  <a:pt x="0" y="544830"/>
                </a:lnTo>
                <a:cubicBezTo>
                  <a:pt x="400336" y="1132046"/>
                  <a:pt x="1059275" y="1482567"/>
                  <a:pt x="1767840" y="1484757"/>
                </a:cubicBezTo>
                <a:lnTo>
                  <a:pt x="1404461" y="1008793"/>
                </a:lnTo>
                <a:lnTo>
                  <a:pt x="1731264" y="580644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Freihandform: Form 43">
            <a:extLst>
              <a:ext uri="{FF2B5EF4-FFF2-40B4-BE49-F238E27FC236}">
                <a16:creationId xmlns:a16="http://schemas.microsoft.com/office/drawing/2014/main" id="{371DE00D-956A-E30A-07AC-52EF0F1AEAA4}"/>
              </a:ext>
            </a:extLst>
          </p:cNvPr>
          <p:cNvSpPr>
            <a:spLocks/>
          </p:cNvSpPr>
          <p:nvPr/>
        </p:nvSpPr>
        <p:spPr>
          <a:xfrm>
            <a:off x="4198109" y="2560417"/>
            <a:ext cx="929462" cy="1843077"/>
          </a:xfrm>
          <a:custGeom>
            <a:avLst/>
            <a:gdLst>
              <a:gd name="connsiteX0" fmla="*/ 278569 w 1045807"/>
              <a:gd name="connsiteY0" fmla="*/ 2073783 h 2073782"/>
              <a:gd name="connsiteX1" fmla="*/ 511931 w 1045807"/>
              <a:gd name="connsiteY1" fmla="*/ 1522381 h 2073782"/>
              <a:gd name="connsiteX2" fmla="*/ 1045807 w 1045807"/>
              <a:gd name="connsiteY2" fmla="*/ 1594104 h 2073782"/>
              <a:gd name="connsiteX3" fmla="*/ 1013137 w 1045807"/>
              <a:gd name="connsiteY3" fmla="*/ 506254 h 2073782"/>
              <a:gd name="connsiteX4" fmla="*/ 805015 w 1045807"/>
              <a:gd name="connsiteY4" fmla="*/ 0 h 2073782"/>
              <a:gd name="connsiteX5" fmla="*/ 219037 w 1045807"/>
              <a:gd name="connsiteY5" fmla="*/ 72390 h 2073782"/>
              <a:gd name="connsiteX6" fmla="*/ 278473 w 1045807"/>
              <a:gd name="connsiteY6" fmla="*/ 2073688 h 2073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45807" h="2073782">
                <a:moveTo>
                  <a:pt x="278569" y="2073783"/>
                </a:moveTo>
                <a:lnTo>
                  <a:pt x="511931" y="1522381"/>
                </a:lnTo>
                <a:lnTo>
                  <a:pt x="1045807" y="1594104"/>
                </a:lnTo>
                <a:cubicBezTo>
                  <a:pt x="869119" y="1257491"/>
                  <a:pt x="856641" y="855155"/>
                  <a:pt x="1013137" y="506254"/>
                </a:cubicBezTo>
                <a:lnTo>
                  <a:pt x="805015" y="0"/>
                </a:lnTo>
                <a:lnTo>
                  <a:pt x="219037" y="72390"/>
                </a:lnTo>
                <a:cubicBezTo>
                  <a:pt x="-92621" y="711041"/>
                  <a:pt x="-70713" y="1457135"/>
                  <a:pt x="278473" y="2073688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Freihandform: Form 44">
            <a:extLst>
              <a:ext uri="{FF2B5EF4-FFF2-40B4-BE49-F238E27FC236}">
                <a16:creationId xmlns:a16="http://schemas.microsoft.com/office/drawing/2014/main" id="{16336F97-3B9B-CC23-2EF3-BD6F73316413}"/>
              </a:ext>
            </a:extLst>
          </p:cNvPr>
          <p:cNvSpPr>
            <a:spLocks/>
          </p:cNvSpPr>
          <p:nvPr/>
        </p:nvSpPr>
        <p:spPr>
          <a:xfrm>
            <a:off x="5924162" y="4043462"/>
            <a:ext cx="1826824" cy="1317886"/>
          </a:xfrm>
          <a:custGeom>
            <a:avLst/>
            <a:gdLst>
              <a:gd name="connsiteX0" fmla="*/ 1462278 w 2055495"/>
              <a:gd name="connsiteY0" fmla="*/ 497491 h 1482851"/>
              <a:gd name="connsiteX1" fmla="*/ 1254728 w 2055495"/>
              <a:gd name="connsiteY1" fmla="*/ 0 h 1482851"/>
              <a:gd name="connsiteX2" fmla="*/ 331565 w 2055495"/>
              <a:gd name="connsiteY2" fmla="*/ 578168 h 1482851"/>
              <a:gd name="connsiteX3" fmla="*/ 0 w 2055495"/>
              <a:gd name="connsiteY3" fmla="*/ 1012603 h 1482851"/>
              <a:gd name="connsiteX4" fmla="*/ 358807 w 2055495"/>
              <a:gd name="connsiteY4" fmla="*/ 1482852 h 1482851"/>
              <a:gd name="connsiteX5" fmla="*/ 2055495 w 2055495"/>
              <a:gd name="connsiteY5" fmla="*/ 421005 h 1482851"/>
              <a:gd name="connsiteX6" fmla="*/ 1462278 w 2055495"/>
              <a:gd name="connsiteY6" fmla="*/ 497491 h 1482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55495" h="1482851">
                <a:moveTo>
                  <a:pt x="1462278" y="497491"/>
                </a:moveTo>
                <a:lnTo>
                  <a:pt x="1254728" y="0"/>
                </a:lnTo>
                <a:cubicBezTo>
                  <a:pt x="1051846" y="324803"/>
                  <a:pt x="712851" y="538258"/>
                  <a:pt x="331565" y="578168"/>
                </a:cubicBezTo>
                <a:lnTo>
                  <a:pt x="0" y="1012603"/>
                </a:lnTo>
                <a:lnTo>
                  <a:pt x="358807" y="1482852"/>
                </a:lnTo>
                <a:cubicBezTo>
                  <a:pt x="1068991" y="1430846"/>
                  <a:pt x="1696879" y="1036796"/>
                  <a:pt x="2055495" y="421005"/>
                </a:cubicBezTo>
                <a:lnTo>
                  <a:pt x="1462278" y="497491"/>
                </a:lnTo>
                <a:close/>
              </a:path>
            </a:pathLst>
          </a:custGeom>
          <a:solidFill>
            <a:schemeClr val="bg2"/>
          </a:solidFill>
          <a:ln w="542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6" name="Freihandform: Form 45">
            <a:extLst>
              <a:ext uri="{FF2B5EF4-FFF2-40B4-BE49-F238E27FC236}">
                <a16:creationId xmlns:a16="http://schemas.microsoft.com/office/drawing/2014/main" id="{A518EBDF-95DE-9C51-92B0-48A49E615C36}"/>
              </a:ext>
            </a:extLst>
          </p:cNvPr>
          <p:cNvSpPr>
            <a:spLocks/>
          </p:cNvSpPr>
          <p:nvPr/>
        </p:nvSpPr>
        <p:spPr>
          <a:xfrm>
            <a:off x="7076975" y="2510641"/>
            <a:ext cx="932881" cy="1844516"/>
          </a:xfrm>
          <a:custGeom>
            <a:avLst/>
            <a:gdLst>
              <a:gd name="connsiteX0" fmla="*/ 836200 w 1049654"/>
              <a:gd name="connsiteY0" fmla="*/ 1999774 h 2075402"/>
              <a:gd name="connsiteX1" fmla="*/ 1049655 w 1049654"/>
              <a:gd name="connsiteY1" fmla="*/ 1066895 h 2075402"/>
              <a:gd name="connsiteX2" fmla="*/ 765143 w 1049654"/>
              <a:gd name="connsiteY2" fmla="*/ 0 h 2075402"/>
              <a:gd name="connsiteX3" fmla="*/ 535019 w 1049654"/>
              <a:gd name="connsiteY3" fmla="*/ 551497 h 2075402"/>
              <a:gd name="connsiteX4" fmla="*/ 0 w 1049654"/>
              <a:gd name="connsiteY4" fmla="*/ 482441 h 2075402"/>
              <a:gd name="connsiteX5" fmla="*/ 146209 w 1049654"/>
              <a:gd name="connsiteY5" fmla="*/ 1066895 h 2075402"/>
              <a:gd name="connsiteX6" fmla="*/ 39433 w 1049654"/>
              <a:gd name="connsiteY6" fmla="*/ 1570768 h 2075402"/>
              <a:gd name="connsiteX7" fmla="*/ 249936 w 1049654"/>
              <a:gd name="connsiteY7" fmla="*/ 2075402 h 2075402"/>
              <a:gd name="connsiteX8" fmla="*/ 836200 w 1049654"/>
              <a:gd name="connsiteY8" fmla="*/ 1999678 h 2075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49654" h="2075402">
                <a:moveTo>
                  <a:pt x="836200" y="1999774"/>
                </a:moveTo>
                <a:cubicBezTo>
                  <a:pt x="977836" y="1707737"/>
                  <a:pt x="1049655" y="1393984"/>
                  <a:pt x="1049655" y="1066895"/>
                </a:cubicBezTo>
                <a:cubicBezTo>
                  <a:pt x="1049655" y="691039"/>
                  <a:pt x="951547" y="323755"/>
                  <a:pt x="765143" y="0"/>
                </a:cubicBezTo>
                <a:lnTo>
                  <a:pt x="535019" y="551497"/>
                </a:lnTo>
                <a:lnTo>
                  <a:pt x="0" y="482441"/>
                </a:lnTo>
                <a:cubicBezTo>
                  <a:pt x="95916" y="661606"/>
                  <a:pt x="146209" y="862013"/>
                  <a:pt x="146209" y="1066895"/>
                </a:cubicBezTo>
                <a:cubicBezTo>
                  <a:pt x="146209" y="1242346"/>
                  <a:pt x="110299" y="1411795"/>
                  <a:pt x="39433" y="1570768"/>
                </a:cubicBezTo>
                <a:lnTo>
                  <a:pt x="249936" y="2075402"/>
                </a:lnTo>
                <a:lnTo>
                  <a:pt x="836200" y="1999678"/>
                </a:lnTo>
                <a:close/>
              </a:path>
            </a:pathLst>
          </a:custGeom>
          <a:solidFill>
            <a:schemeClr val="bg2"/>
          </a:solidFill>
          <a:ln w="542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7" name="Freihandform: Form 46">
            <a:extLst>
              <a:ext uri="{FF2B5EF4-FFF2-40B4-BE49-F238E27FC236}">
                <a16:creationId xmlns:a16="http://schemas.microsoft.com/office/drawing/2014/main" id="{035BAEB0-C794-C656-D635-5E2F2DFDC340}"/>
              </a:ext>
            </a:extLst>
          </p:cNvPr>
          <p:cNvSpPr>
            <a:spLocks/>
          </p:cNvSpPr>
          <p:nvPr/>
        </p:nvSpPr>
        <p:spPr>
          <a:xfrm>
            <a:off x="6108452" y="1551262"/>
            <a:ext cx="1570746" cy="1319071"/>
          </a:xfrm>
          <a:custGeom>
            <a:avLst/>
            <a:gdLst>
              <a:gd name="connsiteX0" fmla="*/ 996792 w 1767363"/>
              <a:gd name="connsiteY0" fmla="*/ 1414177 h 1484185"/>
              <a:gd name="connsiteX1" fmla="*/ 1540097 w 1767363"/>
              <a:gd name="connsiteY1" fmla="*/ 1484186 h 1484185"/>
              <a:gd name="connsiteX2" fmla="*/ 1767364 w 1767363"/>
              <a:gd name="connsiteY2" fmla="*/ 939737 h 1484185"/>
              <a:gd name="connsiteX3" fmla="*/ 0 w 1767363"/>
              <a:gd name="connsiteY3" fmla="*/ 0 h 1484185"/>
              <a:gd name="connsiteX4" fmla="*/ 362903 w 1767363"/>
              <a:gd name="connsiteY4" fmla="*/ 475393 h 1484185"/>
              <a:gd name="connsiteX5" fmla="*/ 35719 w 1767363"/>
              <a:gd name="connsiteY5" fmla="*/ 904113 h 1484185"/>
              <a:gd name="connsiteX6" fmla="*/ 996792 w 1767363"/>
              <a:gd name="connsiteY6" fmla="*/ 1414177 h 1484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67363" h="1484185">
                <a:moveTo>
                  <a:pt x="996792" y="1414177"/>
                </a:moveTo>
                <a:lnTo>
                  <a:pt x="1540097" y="1484186"/>
                </a:lnTo>
                <a:lnTo>
                  <a:pt x="1767364" y="939737"/>
                </a:lnTo>
                <a:cubicBezTo>
                  <a:pt x="1367124" y="352901"/>
                  <a:pt x="708374" y="2286"/>
                  <a:pt x="0" y="0"/>
                </a:cubicBezTo>
                <a:lnTo>
                  <a:pt x="362903" y="475393"/>
                </a:lnTo>
                <a:lnTo>
                  <a:pt x="35719" y="904113"/>
                </a:lnTo>
                <a:cubicBezTo>
                  <a:pt x="415576" y="917258"/>
                  <a:pt x="771240" y="1105567"/>
                  <a:pt x="996792" y="1414177"/>
                </a:cubicBezTo>
                <a:close/>
              </a:path>
            </a:pathLst>
          </a:custGeom>
          <a:solidFill>
            <a:schemeClr val="bg2"/>
          </a:solidFill>
          <a:ln w="542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Freihandform: Form 48">
            <a:extLst>
              <a:ext uri="{FF2B5EF4-FFF2-40B4-BE49-F238E27FC236}">
                <a16:creationId xmlns:a16="http://schemas.microsoft.com/office/drawing/2014/main" id="{83DDB0B7-71A7-E081-1B6E-B1E9BCDCCA33}"/>
              </a:ext>
            </a:extLst>
          </p:cNvPr>
          <p:cNvSpPr>
            <a:spLocks/>
          </p:cNvSpPr>
          <p:nvPr/>
        </p:nvSpPr>
        <p:spPr>
          <a:xfrm>
            <a:off x="-1" y="1557338"/>
            <a:ext cx="6280301" cy="803702"/>
          </a:xfrm>
          <a:custGeom>
            <a:avLst/>
            <a:gdLst>
              <a:gd name="connsiteX0" fmla="*/ 0 w 6280301"/>
              <a:gd name="connsiteY0" fmla="*/ 0 h 803702"/>
              <a:gd name="connsiteX1" fmla="*/ 2068955 w 6280301"/>
              <a:gd name="connsiteY1" fmla="*/ 0 h 803702"/>
              <a:gd name="connsiteX2" fmla="*/ 2962275 w 6280301"/>
              <a:gd name="connsiteY2" fmla="*/ 0 h 803702"/>
              <a:gd name="connsiteX3" fmla="*/ 5960903 w 6280301"/>
              <a:gd name="connsiteY3" fmla="*/ 0 h 803702"/>
              <a:gd name="connsiteX4" fmla="*/ 6280301 w 6280301"/>
              <a:gd name="connsiteY4" fmla="*/ 418612 h 803702"/>
              <a:gd name="connsiteX5" fmla="*/ 5986384 w 6280301"/>
              <a:gd name="connsiteY5" fmla="*/ 803702 h 803702"/>
              <a:gd name="connsiteX6" fmla="*/ 2068955 w 6280301"/>
              <a:gd name="connsiteY6" fmla="*/ 803702 h 803702"/>
              <a:gd name="connsiteX7" fmla="*/ 2068955 w 6280301"/>
              <a:gd name="connsiteY7" fmla="*/ 803701 h 803702"/>
              <a:gd name="connsiteX8" fmla="*/ 0 w 6280301"/>
              <a:gd name="connsiteY8" fmla="*/ 803701 h 803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80301" h="803702">
                <a:moveTo>
                  <a:pt x="0" y="0"/>
                </a:moveTo>
                <a:lnTo>
                  <a:pt x="2068955" y="0"/>
                </a:lnTo>
                <a:lnTo>
                  <a:pt x="2962275" y="0"/>
                </a:lnTo>
                <a:lnTo>
                  <a:pt x="5960903" y="0"/>
                </a:lnTo>
                <a:lnTo>
                  <a:pt x="6280301" y="418612"/>
                </a:lnTo>
                <a:lnTo>
                  <a:pt x="5986384" y="803702"/>
                </a:lnTo>
                <a:lnTo>
                  <a:pt x="2068955" y="803702"/>
                </a:lnTo>
                <a:lnTo>
                  <a:pt x="2068955" y="803701"/>
                </a:lnTo>
                <a:lnTo>
                  <a:pt x="0" y="803701"/>
                </a:lnTo>
                <a:close/>
              </a:path>
            </a:pathLst>
          </a:custGeom>
          <a:solidFill>
            <a:schemeClr val="bg2"/>
          </a:solidFill>
          <a:ln w="542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1" name="Textfeld 28">
            <a:extLst>
              <a:ext uri="{FF2B5EF4-FFF2-40B4-BE49-F238E27FC236}">
                <a16:creationId xmlns:a16="http://schemas.microsoft.com/office/drawing/2014/main" id="{FB98F9FF-B0B0-818B-572D-EFFB3D8A28EC}"/>
              </a:ext>
            </a:extLst>
          </p:cNvPr>
          <p:cNvSpPr txBox="1">
            <a:spLocks/>
          </p:cNvSpPr>
          <p:nvPr/>
        </p:nvSpPr>
        <p:spPr>
          <a:xfrm>
            <a:off x="419101" y="2778434"/>
            <a:ext cx="32893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2" name="Textfeld 29">
            <a:extLst>
              <a:ext uri="{FF2B5EF4-FFF2-40B4-BE49-F238E27FC236}">
                <a16:creationId xmlns:a16="http://schemas.microsoft.com/office/drawing/2014/main" id="{4AB67292-32A6-9DDD-BF23-72D7EAE35DDE}"/>
              </a:ext>
            </a:extLst>
          </p:cNvPr>
          <p:cNvSpPr txBox="1">
            <a:spLocks/>
          </p:cNvSpPr>
          <p:nvPr/>
        </p:nvSpPr>
        <p:spPr>
          <a:xfrm>
            <a:off x="419101" y="3305932"/>
            <a:ext cx="3289300" cy="109260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3" name="Textfeld 30">
            <a:extLst>
              <a:ext uri="{FF2B5EF4-FFF2-40B4-BE49-F238E27FC236}">
                <a16:creationId xmlns:a16="http://schemas.microsoft.com/office/drawing/2014/main" id="{30F50406-5898-755D-8B08-462152F75D3A}"/>
              </a:ext>
            </a:extLst>
          </p:cNvPr>
          <p:cNvSpPr txBox="1">
            <a:spLocks/>
          </p:cNvSpPr>
          <p:nvPr/>
        </p:nvSpPr>
        <p:spPr>
          <a:xfrm>
            <a:off x="8521699" y="2778434"/>
            <a:ext cx="32893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4" name="Textfeld 31">
            <a:extLst>
              <a:ext uri="{FF2B5EF4-FFF2-40B4-BE49-F238E27FC236}">
                <a16:creationId xmlns:a16="http://schemas.microsoft.com/office/drawing/2014/main" id="{26FF55ED-EDC6-4CF2-745A-51B1ECC9F405}"/>
              </a:ext>
            </a:extLst>
          </p:cNvPr>
          <p:cNvSpPr txBox="1">
            <a:spLocks/>
          </p:cNvSpPr>
          <p:nvPr/>
        </p:nvSpPr>
        <p:spPr>
          <a:xfrm>
            <a:off x="8521699" y="3305932"/>
            <a:ext cx="3289300" cy="109260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5" name="Textfeld 33">
            <a:extLst>
              <a:ext uri="{FF2B5EF4-FFF2-40B4-BE49-F238E27FC236}">
                <a16:creationId xmlns:a16="http://schemas.microsoft.com/office/drawing/2014/main" id="{06E63ED1-322A-8E8C-183D-8165A29284B6}"/>
              </a:ext>
            </a:extLst>
          </p:cNvPr>
          <p:cNvSpPr txBox="1">
            <a:spLocks noChangeAspect="1"/>
          </p:cNvSpPr>
          <p:nvPr/>
        </p:nvSpPr>
        <p:spPr>
          <a:xfrm rot="2186672">
            <a:off x="4618789" y="1971649"/>
            <a:ext cx="2972706" cy="2972706"/>
          </a:xfrm>
          <a:prstGeom prst="rect">
            <a:avLst/>
          </a:prstGeom>
          <a:noFill/>
        </p:spPr>
        <p:txBody>
          <a:bodyPr wrap="none" lIns="0" tIns="0" rIns="0" bIns="0" rtlCol="0">
            <a:prstTxWarp prst="textArchDown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4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16" name="Textfeld 34">
            <a:extLst>
              <a:ext uri="{FF2B5EF4-FFF2-40B4-BE49-F238E27FC236}">
                <a16:creationId xmlns:a16="http://schemas.microsoft.com/office/drawing/2014/main" id="{2BB87213-EAB8-6BB1-F2A7-AF5D63345481}"/>
              </a:ext>
            </a:extLst>
          </p:cNvPr>
          <p:cNvSpPr txBox="1">
            <a:spLocks noChangeAspect="1"/>
          </p:cNvSpPr>
          <p:nvPr/>
        </p:nvSpPr>
        <p:spPr>
          <a:xfrm rot="20196132">
            <a:off x="4618789" y="1971649"/>
            <a:ext cx="2972706" cy="2972706"/>
          </a:xfrm>
          <a:prstGeom prst="rect">
            <a:avLst/>
          </a:prstGeom>
          <a:noFill/>
        </p:spPr>
        <p:txBody>
          <a:bodyPr wrap="none" lIns="0" tIns="0" rIns="0" bIns="0" rtlCol="0">
            <a:prstTxWarp prst="textArchDown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4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17" name="Textfeld 35">
            <a:extLst>
              <a:ext uri="{FF2B5EF4-FFF2-40B4-BE49-F238E27FC236}">
                <a16:creationId xmlns:a16="http://schemas.microsoft.com/office/drawing/2014/main" id="{653F3A62-657B-9B98-FBB3-ADF44B8C446D}"/>
              </a:ext>
            </a:extLst>
          </p:cNvPr>
          <p:cNvSpPr txBox="1">
            <a:spLocks noChangeAspect="1"/>
          </p:cNvSpPr>
          <p:nvPr/>
        </p:nvSpPr>
        <p:spPr>
          <a:xfrm rot="5772744">
            <a:off x="4618268" y="1972169"/>
            <a:ext cx="2973749" cy="2971664"/>
          </a:xfrm>
          <a:prstGeom prst="rect">
            <a:avLst/>
          </a:prstGeom>
          <a:noFill/>
        </p:spPr>
        <p:txBody>
          <a:bodyPr wrap="none" lIns="0" tIns="0" rIns="0" bIns="0" rtlCol="0">
            <a:prstTxWarp prst="textArchDown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40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18" name="Textfeld 36">
            <a:extLst>
              <a:ext uri="{FF2B5EF4-FFF2-40B4-BE49-F238E27FC236}">
                <a16:creationId xmlns:a16="http://schemas.microsoft.com/office/drawing/2014/main" id="{E53D78FC-96B1-2D40-A293-3891EA92A3E8}"/>
              </a:ext>
            </a:extLst>
          </p:cNvPr>
          <p:cNvSpPr txBox="1">
            <a:spLocks noChangeAspect="1"/>
          </p:cNvSpPr>
          <p:nvPr/>
        </p:nvSpPr>
        <p:spPr>
          <a:xfrm rot="16532307">
            <a:off x="4618268" y="1972169"/>
            <a:ext cx="2973749" cy="2971664"/>
          </a:xfrm>
          <a:prstGeom prst="rect">
            <a:avLst/>
          </a:prstGeom>
          <a:noFill/>
        </p:spPr>
        <p:txBody>
          <a:bodyPr wrap="none" lIns="0" tIns="0" rIns="0" bIns="0" rtlCol="0">
            <a:prstTxWarp prst="textArchDown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4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19" name="Textfeld 38">
            <a:extLst>
              <a:ext uri="{FF2B5EF4-FFF2-40B4-BE49-F238E27FC236}">
                <a16:creationId xmlns:a16="http://schemas.microsoft.com/office/drawing/2014/main" id="{AA02B089-FF75-628B-96DB-21F315347702}"/>
              </a:ext>
            </a:extLst>
          </p:cNvPr>
          <p:cNvSpPr txBox="1">
            <a:spLocks noChangeAspect="1"/>
          </p:cNvSpPr>
          <p:nvPr/>
        </p:nvSpPr>
        <p:spPr>
          <a:xfrm rot="2093832">
            <a:off x="4618789" y="1971649"/>
            <a:ext cx="2972706" cy="2972706"/>
          </a:xfrm>
          <a:prstGeom prst="rect">
            <a:avLst/>
          </a:prstGeom>
          <a:noFill/>
        </p:spPr>
        <p:txBody>
          <a:bodyPr wrap="none" lIns="0" tIns="0" rIns="0" bIns="0" rtlCol="0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4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20" name="Textfeld 40">
            <a:extLst>
              <a:ext uri="{FF2B5EF4-FFF2-40B4-BE49-F238E27FC236}">
                <a16:creationId xmlns:a16="http://schemas.microsoft.com/office/drawing/2014/main" id="{9FBCC192-2C58-A99D-801C-C37558A30208}"/>
              </a:ext>
            </a:extLst>
          </p:cNvPr>
          <p:cNvSpPr txBox="1">
            <a:spLocks/>
          </p:cNvSpPr>
          <p:nvPr/>
        </p:nvSpPr>
        <p:spPr>
          <a:xfrm>
            <a:off x="419101" y="1851467"/>
            <a:ext cx="4107096" cy="21544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ym typeface="Futura"/>
              </a:rPr>
              <a:t>Insert your desired tex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3B79FA1-19AF-C551-D568-A66ECC5479F1}"/>
              </a:ext>
            </a:extLst>
          </p:cNvPr>
          <p:cNvSpPr txBox="1">
            <a:spLocks noChangeAspect="1"/>
          </p:cNvSpPr>
          <p:nvPr>
            <p:custDataLst>
              <p:tags r:id="rId3"/>
            </p:custDataLst>
          </p:nvPr>
        </p:nvSpPr>
        <p:spPr>
          <a:xfrm>
            <a:off x="4906156" y="2259439"/>
            <a:ext cx="2397972" cy="2397125"/>
          </a:xfrm>
          <a:prstGeom prst="ellipse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400">
                <a:solidFill>
                  <a:schemeClr val="tx2"/>
                </a:solidFill>
                <a:sym typeface="Futura"/>
              </a:rPr>
              <a:t>Insert your desired tex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4C84AD06-B97B-C82E-BEF5-197FAAE4FA3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96715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sprints, process, processes, cycle, cycles</a:t>
            </a:r>
          </a:p>
        </p:txBody>
      </p:sp>
    </p:spTree>
    <p:extLst>
      <p:ext uri="{BB962C8B-B14F-4D97-AF65-F5344CB8AC3E}">
        <p14:creationId xmlns:p14="http://schemas.microsoft.com/office/powerpoint/2010/main" val="12964413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